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6.xml" ContentType="application/vnd.openxmlformats-officedocument.them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5" r:id="rId5"/>
    <p:sldMasterId id="2147483743" r:id="rId6"/>
    <p:sldMasterId id="2147483688" r:id="rId7"/>
    <p:sldMasterId id="2147483699" r:id="rId8"/>
    <p:sldMasterId id="2147483710" r:id="rId9"/>
    <p:sldMasterId id="2147483721" r:id="rId10"/>
  </p:sldMasterIdLst>
  <p:notesMasterIdLst>
    <p:notesMasterId r:id="rId12"/>
  </p:notesMasterIdLst>
  <p:handoutMasterIdLst>
    <p:handoutMasterId r:id="rId13"/>
  </p:handoutMasterIdLst>
  <p:sldIdLst>
    <p:sldId id="513" r:id="rId11"/>
  </p:sldIdLst>
  <p:sldSz cx="9906000" cy="6858000" type="A4"/>
  <p:notesSz cx="6797675" cy="987425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letusosa" id="{4BBEF106-8CE4-4C3E-A469-008A6EEF3DEC}">
          <p14:sldIdLst>
            <p14:sldId id="51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lle Remes" initials="VR" lastIdx="3" clrIdx="0">
    <p:extLst>
      <p:ext uri="{19B8F6BF-5375-455C-9EA6-DF929625EA0E}">
        <p15:presenceInfo xmlns:p15="http://schemas.microsoft.com/office/powerpoint/2012/main" userId="S::ville.remes@synlab.fi::f8d86716-f8f0-4409-bc76-8222ee1676b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65"/>
    <a:srgbClr val="EE7400"/>
    <a:srgbClr val="BE1622"/>
    <a:srgbClr val="A3ABB1"/>
    <a:srgbClr val="BFD886"/>
    <a:srgbClr val="68971C"/>
    <a:srgbClr val="000000"/>
    <a:srgbClr val="8064A8"/>
    <a:srgbClr val="B1106B"/>
    <a:srgbClr val="7D0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BD764E-9646-46CE-BBFB-52F0BF92E2F9}" v="536" dt="2022-11-22T10:33:41.633"/>
    <p1510:client id="{EAB35FA0-B30A-4C6C-A669-8F6D7877A666}" v="2" dt="2022-11-22T11:31:18.856"/>
  </p1510:revLst>
</p1510:revInfo>
</file>

<file path=ppt/tableStyles.xml><?xml version="1.0" encoding="utf-8"?>
<a:tblStyleLst xmlns:a="http://schemas.openxmlformats.org/drawingml/2006/main" def="{00A15C55-8517-42AA-B614-E9B94910E393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Mittlere Formatvorlage 4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unkle Formatvorlage 2 - Akzent 1/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202B0CA-FC54-4496-8BCA-5EF66A818D29}" styleName="Dunkle Formatvorlag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Ei tyyliä, taulukon ruudukko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38B1855-1B75-4FBE-930C-398BA8C253C6}" styleName="Teematyyli 2 - Korostus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eematyyli 2 - Korostus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eematyyli 2 - Korostus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eematyyli 1 - Korostus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FABFCF23-3B69-468F-B69F-88F6DE6A72F2}" styleName="Normaali tyyli 1 - Korostus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912C8C85-51F0-491E-9774-3900AFEF0FD7}" styleName="Vaalea tyyli 2 - Korostus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Vaalea tyyli 2 - Korostus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Vaalea tyyli 2 - Korostus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5758FB7-9AC5-4552-8A53-C91805E547FA}" styleName="Teematyyli 1 - Korostus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446" y="10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F5FCA9-D6DA-46A5-8A0D-78BC5D834DA7}" type="datetimeFigureOut">
              <a:rPr lang="en-GB" smtClean="0"/>
              <a:t>18/07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4B7EB7-8F71-41A0-BE29-7EE6965C939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9849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134473-3E7A-4856-8B9D-FB5EFA113D63}" type="datetimeFigureOut">
              <a:rPr lang="en-US" smtClean="0"/>
              <a:t>7/18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25488" y="741363"/>
            <a:ext cx="534670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07A6AF-23DC-455E-871D-DE4FA0CA2F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04834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2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27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2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2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31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3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oleObject" Target="../embeddings/oleObject33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3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37.bin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39.bin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oleObject" Target="../embeddings/oleObject41.bin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45.bin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47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4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oleObject" Target="../embeddings/oleObject49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4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oleObject" Target="../embeddings/oleObject51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53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oleObject" Target="../embeddings/oleObject55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5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1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3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4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0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79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0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1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2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3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5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6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1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0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1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2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3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4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95.xml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7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2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2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3.xml"/><Relationship Id="rId4" Type="http://schemas.openxmlformats.org/officeDocument/2006/relationships/image" Target="../media/image3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4.xml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5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6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07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4766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22148184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2147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82373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6001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4766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4301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525836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553217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6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97068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3102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>
            <a:lvl1pPr>
              <a:defRPr/>
            </a:lvl1pPr>
          </a:lstStyle>
          <a:p>
            <a:fld id="{22F9F1C7-9E1D-854F-8FC0-5E41580ECE9A}" type="datetime1">
              <a:rPr lang="fi-FI" smtClean="0"/>
              <a:pPr/>
              <a:t>18.7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err="1"/>
              <a:t>Palvelukehityksen</a:t>
            </a:r>
            <a:r>
              <a:rPr lang="en-GB"/>
              <a:t> </a:t>
            </a:r>
            <a:r>
              <a:rPr lang="en-GB" err="1"/>
              <a:t>työ</a:t>
            </a:r>
            <a:r>
              <a:rPr lang="en-GB"/>
              <a:t>- </a:t>
            </a:r>
            <a:r>
              <a:rPr lang="en-GB" err="1"/>
              <a:t>ja</a:t>
            </a:r>
            <a:r>
              <a:rPr lang="en-GB"/>
              <a:t> </a:t>
            </a:r>
            <a:r>
              <a:rPr lang="en-GB" err="1"/>
              <a:t>toimintasuunnitelma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1513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04215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7399192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r>
              <a:rPr lang="de-DE" err="1"/>
              <a:t>Aaa</a:t>
            </a: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10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5000609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5605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5274435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/>
        </p:nvSpPr>
        <p:spPr>
          <a:xfrm>
            <a:off x="4640965" y="232241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5925" y="127401"/>
            <a:ext cx="1899284" cy="44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Objekt 1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1434900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6" name="Objek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3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cxnSp>
        <p:nvCxnSpPr>
          <p:cNvPr id="2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6" name="Picture 3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93926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937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/>
            </a:lvl1pPr>
          </a:lstStyle>
          <a:p>
            <a:fld id="{D45265FD-FAF1-EC40-8FF7-5CA2B0804513}" type="datetime1">
              <a:rPr lang="fi-FI" smtClean="0"/>
              <a:pPr/>
              <a:t>18.7.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 err="1"/>
              <a:t>Palvelukehityksen</a:t>
            </a:r>
            <a:r>
              <a:rPr lang="en-GB"/>
              <a:t> </a:t>
            </a:r>
            <a:r>
              <a:rPr lang="en-GB" err="1"/>
              <a:t>työ</a:t>
            </a:r>
            <a:r>
              <a:rPr lang="en-GB"/>
              <a:t>- </a:t>
            </a:r>
            <a:r>
              <a:rPr lang="en-GB" err="1"/>
              <a:t>ja</a:t>
            </a:r>
            <a:r>
              <a:rPr lang="en-GB"/>
              <a:t> </a:t>
            </a:r>
            <a:r>
              <a:rPr lang="en-GB" err="1"/>
              <a:t>toimintasuunnitelma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/>
            </a:lvl1pPr>
          </a:lstStyle>
          <a:p>
            <a:fld id="{15C844D5-2392-2F40-A0C1-8AEB586A8A01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8051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223489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277873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861994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540187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553217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778694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6814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147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35688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1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97235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6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1349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427185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r>
              <a:rPr lang="de-DE" err="1"/>
              <a:t>Aaa</a:t>
            </a:r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graphicFrame>
        <p:nvGraphicFramePr>
          <p:cNvPr id="10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k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586690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Rechteck 1"/>
          <p:cNvSpPr/>
          <p:nvPr/>
        </p:nvSpPr>
        <p:spPr>
          <a:xfrm>
            <a:off x="4640965" y="232241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1000" cap="all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/>
            <a:r>
              <a:rPr lang="en-US" sz="1000" cap="all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5925" y="127401"/>
            <a:ext cx="1899284" cy="443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Objekt 1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6" name="Objekt 1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3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1000" cap="all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/>
            <a:r>
              <a:rPr lang="en-US" sz="1000" cap="all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cxnSp>
        <p:nvCxnSpPr>
          <p:cNvPr id="2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26" name="Picture 3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4790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59516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52908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95777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69079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5130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89225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0333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3433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39015189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063256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09474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22746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224946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797318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9753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8584776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58821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9582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6649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3212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96742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336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000609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4540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9445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187821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1764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1607451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749411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062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4736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22845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702434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7177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71197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74839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57464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3166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4559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5574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513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434900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21347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2586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6890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8143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42560508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199540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581864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32031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8108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478346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172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276706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8665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3298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9555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0592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31268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116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0512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66943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1164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20526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703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3" name="Gerader Verbinder 2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5" name="Picture 3" descr="\\Mac\Kunden\49 Synlab\16-49-001 Ueberarbeitung Corporate Design\Layouts\Powerpoint\Material\Synlab_Logo_RGB.png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015" y="657225"/>
            <a:ext cx="3335037" cy="77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</p:spTree>
    <p:extLst>
      <p:ext uri="{BB962C8B-B14F-4D97-AF65-F5344CB8AC3E}">
        <p14:creationId xmlns:p14="http://schemas.microsoft.com/office/powerpoint/2010/main" val="160933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0863485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3015" y="657225"/>
            <a:ext cx="3317390" cy="774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1" hasCustomPrompt="1"/>
          </p:nvPr>
        </p:nvSpPr>
        <p:spPr>
          <a:xfrm>
            <a:off x="891561" y="4545124"/>
            <a:ext cx="6136455" cy="69204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600" b="0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Presenter Name</a:t>
            </a:r>
            <a:br>
              <a:rPr lang="en-US" noProof="0"/>
            </a:br>
            <a:r>
              <a:rPr lang="en-US" noProof="0"/>
              <a:t>Date, Plac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2" hasCustomPrompt="1"/>
          </p:nvPr>
        </p:nvSpPr>
        <p:spPr>
          <a:xfrm>
            <a:off x="891561" y="2708920"/>
            <a:ext cx="6136455" cy="185313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ts val="4000"/>
              </a:lnSpc>
              <a:spcBef>
                <a:spcPts val="0"/>
              </a:spcBef>
              <a:spcAft>
                <a:spcPts val="0"/>
              </a:spcAft>
              <a:buNone/>
              <a:defRPr sz="32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cxnSp>
        <p:nvCxnSpPr>
          <p:cNvPr id="15" name="Gerader Verbinder 14"/>
          <p:cNvCxnSpPr/>
          <p:nvPr userDrawn="1"/>
        </p:nvCxnSpPr>
        <p:spPr>
          <a:xfrm>
            <a:off x="891561" y="4545125"/>
            <a:ext cx="6136455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321386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139881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s Text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 wrap="square">
            <a:noAutofit/>
          </a:bodyPr>
          <a:lstStyle>
            <a:lvl1pPr marL="355600" indent="-355600">
              <a:spcBef>
                <a:spcPts val="1999"/>
              </a:spcBef>
              <a:buNone/>
              <a:tabLst>
                <a:tab pos="9485726" algn="r"/>
              </a:tabLst>
              <a:defRPr sz="1600" b="1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1pPr>
            <a:lvl2pPr marL="719877" indent="-359938">
              <a:spcBef>
                <a:spcPts val="600"/>
              </a:spcBef>
              <a:buNone/>
              <a:tabLst>
                <a:tab pos="9485726" algn="r"/>
              </a:tabLst>
              <a:defRPr sz="1400" b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2pPr>
            <a:lvl3pPr marL="1259783" indent="-539907">
              <a:spcBef>
                <a:spcPts val="0"/>
              </a:spcBef>
              <a:buNone/>
              <a:tabLst>
                <a:tab pos="9485726" algn="r"/>
              </a:tabLst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  <a:sym typeface="+mn-lt"/>
              </a:defRPr>
            </a:lvl3pPr>
            <a:lvl4pPr marL="1255497" indent="-534896">
              <a:buNone/>
              <a:tabLst>
                <a:tab pos="8520223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A.	Chapter Title                                                                                                                                                               xx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9929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8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15925" y="1396419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>
              <a:tabLst>
                <a:tab pos="9059863" algn="r"/>
              </a:tabLst>
            </a:pPr>
            <a:r>
              <a:rPr lang="en-US" altLang="de-DE" b="1" noProof="1">
                <a:sym typeface="+mn-lt"/>
              </a:rPr>
              <a:t>Table of Contents                                                                                 Pag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49371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3738355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7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sp>
        <p:nvSpPr>
          <p:cNvPr id="23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  <a:p>
            <a:pPr lvl="0"/>
            <a:endParaRPr lang="de-DE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5196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2032115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kt 1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 Narrow" panose="020B0606020202030204" pitchFamily="34" charset="0"/>
            </a:endParaRPr>
          </a:p>
        </p:txBody>
      </p:sp>
      <p:sp>
        <p:nvSpPr>
          <p:cNvPr id="24" name="Rechteck 1"/>
          <p:cNvSpPr/>
          <p:nvPr userDrawn="1"/>
        </p:nvSpPr>
        <p:spPr>
          <a:xfrm>
            <a:off x="4640965" y="152636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sp>
        <p:nvSpPr>
          <p:cNvPr id="51" name="Bildplatzhalter 19"/>
          <p:cNvSpPr>
            <a:spLocks noGrp="1"/>
          </p:cNvSpPr>
          <p:nvPr>
            <p:ph type="pic" sz="quarter" idx="14" hasCustomPrompt="1"/>
          </p:nvPr>
        </p:nvSpPr>
        <p:spPr>
          <a:xfrm>
            <a:off x="7364458" y="1190906"/>
            <a:ext cx="2541542" cy="5667094"/>
          </a:xfrm>
          <a:custGeom>
            <a:avLst/>
            <a:gdLst>
              <a:gd name="connsiteX0" fmla="*/ 0 w 1208088"/>
              <a:gd name="connsiteY0" fmla="*/ 0 h 2801938"/>
              <a:gd name="connsiteX1" fmla="*/ 1208088 w 1208088"/>
              <a:gd name="connsiteY1" fmla="*/ 0 h 2801938"/>
              <a:gd name="connsiteX2" fmla="*/ 1208088 w 1208088"/>
              <a:gd name="connsiteY2" fmla="*/ 2801938 h 2801938"/>
              <a:gd name="connsiteX3" fmla="*/ 0 w 1208088"/>
              <a:gd name="connsiteY3" fmla="*/ 2801938 h 2801938"/>
              <a:gd name="connsiteX4" fmla="*/ 0 w 1208088"/>
              <a:gd name="connsiteY4" fmla="*/ 0 h 2801938"/>
              <a:gd name="connsiteX0" fmla="*/ 0 w 1208088"/>
              <a:gd name="connsiteY0" fmla="*/ 2751589 h 5553527"/>
              <a:gd name="connsiteX1" fmla="*/ 1191310 w 1208088"/>
              <a:gd name="connsiteY1" fmla="*/ 0 h 5553527"/>
              <a:gd name="connsiteX2" fmla="*/ 1208088 w 1208088"/>
              <a:gd name="connsiteY2" fmla="*/ 5553527 h 5553527"/>
              <a:gd name="connsiteX3" fmla="*/ 0 w 1208088"/>
              <a:gd name="connsiteY3" fmla="*/ 5553527 h 5553527"/>
              <a:gd name="connsiteX4" fmla="*/ 0 w 1208088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1300293 w 2508381"/>
              <a:gd name="connsiteY4" fmla="*/ 2751589 h 5553527"/>
              <a:gd name="connsiteX0" fmla="*/ 1300293 w 2508381"/>
              <a:gd name="connsiteY0" fmla="*/ 2751589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5" fmla="*/ 1300293 w 2508381"/>
              <a:gd name="connsiteY5" fmla="*/ 2751589 h 5553527"/>
              <a:gd name="connsiteX0" fmla="*/ 855881 w 2508381"/>
              <a:gd name="connsiteY0" fmla="*/ 2642620 h 5553527"/>
              <a:gd name="connsiteX1" fmla="*/ 2491603 w 2508381"/>
              <a:gd name="connsiteY1" fmla="*/ 0 h 5553527"/>
              <a:gd name="connsiteX2" fmla="*/ 2508381 w 2508381"/>
              <a:gd name="connsiteY2" fmla="*/ 5553527 h 5553527"/>
              <a:gd name="connsiteX3" fmla="*/ 0 w 2508381"/>
              <a:gd name="connsiteY3" fmla="*/ 5528360 h 5553527"/>
              <a:gd name="connsiteX4" fmla="*/ 855881 w 2508381"/>
              <a:gd name="connsiteY4" fmla="*/ 2642620 h 5553527"/>
              <a:gd name="connsiteX0" fmla="*/ 917304 w 2569804"/>
              <a:gd name="connsiteY0" fmla="*/ 2711454 h 5622361"/>
              <a:gd name="connsiteX1" fmla="*/ 2553026 w 2569804"/>
              <a:gd name="connsiteY1" fmla="*/ 68834 h 5622361"/>
              <a:gd name="connsiteX2" fmla="*/ 2569804 w 2569804"/>
              <a:gd name="connsiteY2" fmla="*/ 5622361 h 5622361"/>
              <a:gd name="connsiteX3" fmla="*/ 61423 w 2569804"/>
              <a:gd name="connsiteY3" fmla="*/ 5597194 h 5622361"/>
              <a:gd name="connsiteX4" fmla="*/ 917304 w 2569804"/>
              <a:gd name="connsiteY4" fmla="*/ 2711454 h 5622361"/>
              <a:gd name="connsiteX0" fmla="*/ 1004165 w 2564386"/>
              <a:gd name="connsiteY0" fmla="*/ 2686959 h 5623033"/>
              <a:gd name="connsiteX1" fmla="*/ 2547608 w 2564386"/>
              <a:gd name="connsiteY1" fmla="*/ 69506 h 5623033"/>
              <a:gd name="connsiteX2" fmla="*/ 2564386 w 2564386"/>
              <a:gd name="connsiteY2" fmla="*/ 5623033 h 5623033"/>
              <a:gd name="connsiteX3" fmla="*/ 56005 w 2564386"/>
              <a:gd name="connsiteY3" fmla="*/ 5597866 h 5623033"/>
              <a:gd name="connsiteX4" fmla="*/ 1004165 w 2564386"/>
              <a:gd name="connsiteY4" fmla="*/ 2686959 h 5623033"/>
              <a:gd name="connsiteX0" fmla="*/ 1109076 w 2669297"/>
              <a:gd name="connsiteY0" fmla="*/ 2716783 h 5652857"/>
              <a:gd name="connsiteX1" fmla="*/ 2652519 w 2669297"/>
              <a:gd name="connsiteY1" fmla="*/ 99330 h 5652857"/>
              <a:gd name="connsiteX2" fmla="*/ 2669297 w 2669297"/>
              <a:gd name="connsiteY2" fmla="*/ 5652857 h 5652857"/>
              <a:gd name="connsiteX3" fmla="*/ 160916 w 2669297"/>
              <a:gd name="connsiteY3" fmla="*/ 5627690 h 5652857"/>
              <a:gd name="connsiteX4" fmla="*/ 1109076 w 2669297"/>
              <a:gd name="connsiteY4" fmla="*/ 2716783 h 5652857"/>
              <a:gd name="connsiteX0" fmla="*/ 1109076 w 2669297"/>
              <a:gd name="connsiteY0" fmla="*/ 2617453 h 5553527"/>
              <a:gd name="connsiteX1" fmla="*/ 2652519 w 2669297"/>
              <a:gd name="connsiteY1" fmla="*/ 0 h 5553527"/>
              <a:gd name="connsiteX2" fmla="*/ 2669297 w 2669297"/>
              <a:gd name="connsiteY2" fmla="*/ 5553527 h 5553527"/>
              <a:gd name="connsiteX3" fmla="*/ 160916 w 2669297"/>
              <a:gd name="connsiteY3" fmla="*/ 5528360 h 5553527"/>
              <a:gd name="connsiteX4" fmla="*/ 1109076 w 2669297"/>
              <a:gd name="connsiteY4" fmla="*/ 2617453 h 5553527"/>
              <a:gd name="connsiteX0" fmla="*/ 1023679 w 2583900"/>
              <a:gd name="connsiteY0" fmla="*/ 2617453 h 5553527"/>
              <a:gd name="connsiteX1" fmla="*/ 2567122 w 2583900"/>
              <a:gd name="connsiteY1" fmla="*/ 0 h 5553527"/>
              <a:gd name="connsiteX2" fmla="*/ 2583900 w 2583900"/>
              <a:gd name="connsiteY2" fmla="*/ 5553527 h 5553527"/>
              <a:gd name="connsiteX3" fmla="*/ 75519 w 2583900"/>
              <a:gd name="connsiteY3" fmla="*/ 5528360 h 5553527"/>
              <a:gd name="connsiteX4" fmla="*/ 1023679 w 2583900"/>
              <a:gd name="connsiteY4" fmla="*/ 2617453 h 5553527"/>
              <a:gd name="connsiteX0" fmla="*/ 985794 w 2587960"/>
              <a:gd name="connsiteY0" fmla="*/ 2625842 h 5553527"/>
              <a:gd name="connsiteX1" fmla="*/ 2571182 w 2587960"/>
              <a:gd name="connsiteY1" fmla="*/ 0 h 5553527"/>
              <a:gd name="connsiteX2" fmla="*/ 2587960 w 2587960"/>
              <a:gd name="connsiteY2" fmla="*/ 5553527 h 5553527"/>
              <a:gd name="connsiteX3" fmla="*/ 79579 w 2587960"/>
              <a:gd name="connsiteY3" fmla="*/ 5528360 h 5553527"/>
              <a:gd name="connsiteX4" fmla="*/ 985794 w 2587960"/>
              <a:gd name="connsiteY4" fmla="*/ 2625842 h 5553527"/>
              <a:gd name="connsiteX0" fmla="*/ 927294 w 2529460"/>
              <a:gd name="connsiteY0" fmla="*/ 2625842 h 5553527"/>
              <a:gd name="connsiteX1" fmla="*/ 2512682 w 2529460"/>
              <a:gd name="connsiteY1" fmla="*/ 0 h 5553527"/>
              <a:gd name="connsiteX2" fmla="*/ 2529460 w 2529460"/>
              <a:gd name="connsiteY2" fmla="*/ 5553527 h 5553527"/>
              <a:gd name="connsiteX3" fmla="*/ 21079 w 2529460"/>
              <a:gd name="connsiteY3" fmla="*/ 5528360 h 5553527"/>
              <a:gd name="connsiteX4" fmla="*/ 927294 w 2529460"/>
              <a:gd name="connsiteY4" fmla="*/ 2625842 h 5553527"/>
              <a:gd name="connsiteX0" fmla="*/ 918992 w 2521981"/>
              <a:gd name="connsiteY0" fmla="*/ 2625842 h 5553527"/>
              <a:gd name="connsiteX1" fmla="*/ 2520255 w 2521981"/>
              <a:gd name="connsiteY1" fmla="*/ 0 h 5553527"/>
              <a:gd name="connsiteX2" fmla="*/ 2521158 w 2521981"/>
              <a:gd name="connsiteY2" fmla="*/ 5553527 h 5553527"/>
              <a:gd name="connsiteX3" fmla="*/ 12777 w 2521981"/>
              <a:gd name="connsiteY3" fmla="*/ 5528360 h 5553527"/>
              <a:gd name="connsiteX4" fmla="*/ 918992 w 2521981"/>
              <a:gd name="connsiteY4" fmla="*/ 2625842 h 5553527"/>
              <a:gd name="connsiteX0" fmla="*/ 918992 w 2523539"/>
              <a:gd name="connsiteY0" fmla="*/ 2625842 h 5528360"/>
              <a:gd name="connsiteX1" fmla="*/ 2520255 w 2523539"/>
              <a:gd name="connsiteY1" fmla="*/ 0 h 5528360"/>
              <a:gd name="connsiteX2" fmla="*/ 2523539 w 2523539"/>
              <a:gd name="connsiteY2" fmla="*/ 5486852 h 5528360"/>
              <a:gd name="connsiteX3" fmla="*/ 12777 w 2523539"/>
              <a:gd name="connsiteY3" fmla="*/ 5528360 h 5528360"/>
              <a:gd name="connsiteX4" fmla="*/ 918992 w 2523539"/>
              <a:gd name="connsiteY4" fmla="*/ 2625842 h 5528360"/>
              <a:gd name="connsiteX0" fmla="*/ 918992 w 2523539"/>
              <a:gd name="connsiteY0" fmla="*/ 2625842 h 5486852"/>
              <a:gd name="connsiteX1" fmla="*/ 2520255 w 2523539"/>
              <a:gd name="connsiteY1" fmla="*/ 0 h 5486852"/>
              <a:gd name="connsiteX2" fmla="*/ 2523539 w 2523539"/>
              <a:gd name="connsiteY2" fmla="*/ 5486852 h 5486852"/>
              <a:gd name="connsiteX3" fmla="*/ 12777 w 2523539"/>
              <a:gd name="connsiteY3" fmla="*/ 5485497 h 5486852"/>
              <a:gd name="connsiteX4" fmla="*/ 918992 w 2523539"/>
              <a:gd name="connsiteY4" fmla="*/ 2625842 h 5486852"/>
              <a:gd name="connsiteX0" fmla="*/ 918992 w 2523539"/>
              <a:gd name="connsiteY0" fmla="*/ 2806084 h 5667094"/>
              <a:gd name="connsiteX1" fmla="*/ 2520255 w 2523539"/>
              <a:gd name="connsiteY1" fmla="*/ 0 h 5667094"/>
              <a:gd name="connsiteX2" fmla="*/ 2523539 w 2523539"/>
              <a:gd name="connsiteY2" fmla="*/ 5667094 h 5667094"/>
              <a:gd name="connsiteX3" fmla="*/ 12777 w 2523539"/>
              <a:gd name="connsiteY3" fmla="*/ 5665739 h 5667094"/>
              <a:gd name="connsiteX4" fmla="*/ 918992 w 2523539"/>
              <a:gd name="connsiteY4" fmla="*/ 2806084 h 5667094"/>
              <a:gd name="connsiteX0" fmla="*/ 949305 w 2553852"/>
              <a:gd name="connsiteY0" fmla="*/ 2806084 h 5667094"/>
              <a:gd name="connsiteX1" fmla="*/ 2550568 w 2553852"/>
              <a:gd name="connsiteY1" fmla="*/ 0 h 5667094"/>
              <a:gd name="connsiteX2" fmla="*/ 2553852 w 2553852"/>
              <a:gd name="connsiteY2" fmla="*/ 5667094 h 5667094"/>
              <a:gd name="connsiteX3" fmla="*/ 12317 w 2553852"/>
              <a:gd name="connsiteY3" fmla="*/ 5665739 h 5667094"/>
              <a:gd name="connsiteX4" fmla="*/ 949305 w 2553852"/>
              <a:gd name="connsiteY4" fmla="*/ 2806084 h 5667094"/>
              <a:gd name="connsiteX0" fmla="*/ 937042 w 2541589"/>
              <a:gd name="connsiteY0" fmla="*/ 2806084 h 6022612"/>
              <a:gd name="connsiteX1" fmla="*/ 2538305 w 2541589"/>
              <a:gd name="connsiteY1" fmla="*/ 0 h 6022612"/>
              <a:gd name="connsiteX2" fmla="*/ 2541589 w 2541589"/>
              <a:gd name="connsiteY2" fmla="*/ 5667094 h 6022612"/>
              <a:gd name="connsiteX3" fmla="*/ 54 w 2541589"/>
              <a:gd name="connsiteY3" fmla="*/ 5665739 h 6022612"/>
              <a:gd name="connsiteX4" fmla="*/ 937042 w 2541589"/>
              <a:gd name="connsiteY4" fmla="*/ 2806084 h 6022612"/>
              <a:gd name="connsiteX0" fmla="*/ 937092 w 2541639"/>
              <a:gd name="connsiteY0" fmla="*/ 2806084 h 6325458"/>
              <a:gd name="connsiteX1" fmla="*/ 2538355 w 2541639"/>
              <a:gd name="connsiteY1" fmla="*/ 0 h 6325458"/>
              <a:gd name="connsiteX2" fmla="*/ 2541639 w 2541639"/>
              <a:gd name="connsiteY2" fmla="*/ 5667094 h 6325458"/>
              <a:gd name="connsiteX3" fmla="*/ 104 w 2541639"/>
              <a:gd name="connsiteY3" fmla="*/ 5665739 h 6325458"/>
              <a:gd name="connsiteX4" fmla="*/ 937092 w 2541639"/>
              <a:gd name="connsiteY4" fmla="*/ 2806084 h 6325458"/>
              <a:gd name="connsiteX0" fmla="*/ 1196048 w 2576392"/>
              <a:gd name="connsiteY0" fmla="*/ 2454391 h 5903967"/>
              <a:gd name="connsiteX1" fmla="*/ 2573108 w 2576392"/>
              <a:gd name="connsiteY1" fmla="*/ 0 h 5903967"/>
              <a:gd name="connsiteX2" fmla="*/ 2576392 w 2576392"/>
              <a:gd name="connsiteY2" fmla="*/ 5667094 h 5903967"/>
              <a:gd name="connsiteX3" fmla="*/ 34857 w 2576392"/>
              <a:gd name="connsiteY3" fmla="*/ 5665739 h 5903967"/>
              <a:gd name="connsiteX4" fmla="*/ 1196048 w 2576392"/>
              <a:gd name="connsiteY4" fmla="*/ 2454391 h 5903967"/>
              <a:gd name="connsiteX0" fmla="*/ 1204278 w 2584622"/>
              <a:gd name="connsiteY0" fmla="*/ 2454391 h 5903967"/>
              <a:gd name="connsiteX1" fmla="*/ 2581338 w 2584622"/>
              <a:gd name="connsiteY1" fmla="*/ 0 h 5903967"/>
              <a:gd name="connsiteX2" fmla="*/ 2584622 w 2584622"/>
              <a:gd name="connsiteY2" fmla="*/ 5667094 h 5903967"/>
              <a:gd name="connsiteX3" fmla="*/ 43087 w 2584622"/>
              <a:gd name="connsiteY3" fmla="*/ 5665739 h 5903967"/>
              <a:gd name="connsiteX4" fmla="*/ 1204278 w 2584622"/>
              <a:gd name="connsiteY4" fmla="*/ 2454391 h 5903967"/>
              <a:gd name="connsiteX0" fmla="*/ 1240770 w 2621114"/>
              <a:gd name="connsiteY0" fmla="*/ 2454391 h 5903967"/>
              <a:gd name="connsiteX1" fmla="*/ 2617830 w 2621114"/>
              <a:gd name="connsiteY1" fmla="*/ 0 h 5903967"/>
              <a:gd name="connsiteX2" fmla="*/ 2621114 w 2621114"/>
              <a:gd name="connsiteY2" fmla="*/ 5667094 h 5903967"/>
              <a:gd name="connsiteX3" fmla="*/ 79579 w 2621114"/>
              <a:gd name="connsiteY3" fmla="*/ 5665739 h 5903967"/>
              <a:gd name="connsiteX4" fmla="*/ 1240770 w 2621114"/>
              <a:gd name="connsiteY4" fmla="*/ 2454391 h 5903967"/>
              <a:gd name="connsiteX0" fmla="*/ 1161459 w 2541803"/>
              <a:gd name="connsiteY0" fmla="*/ 2454391 h 6099352"/>
              <a:gd name="connsiteX1" fmla="*/ 2538519 w 2541803"/>
              <a:gd name="connsiteY1" fmla="*/ 0 h 6099352"/>
              <a:gd name="connsiteX2" fmla="*/ 2541803 w 2541803"/>
              <a:gd name="connsiteY2" fmla="*/ 5667094 h 6099352"/>
              <a:gd name="connsiteX3" fmla="*/ 268 w 2541803"/>
              <a:gd name="connsiteY3" fmla="*/ 5665739 h 6099352"/>
              <a:gd name="connsiteX4" fmla="*/ 1161459 w 2541803"/>
              <a:gd name="connsiteY4" fmla="*/ 2454391 h 6099352"/>
              <a:gd name="connsiteX0" fmla="*/ 1226670 w 2624598"/>
              <a:gd name="connsiteY0" fmla="*/ 2458787 h 5903642"/>
              <a:gd name="connsiteX1" fmla="*/ 2621314 w 2624598"/>
              <a:gd name="connsiteY1" fmla="*/ 0 h 5903642"/>
              <a:gd name="connsiteX2" fmla="*/ 2624598 w 2624598"/>
              <a:gd name="connsiteY2" fmla="*/ 5667094 h 5903642"/>
              <a:gd name="connsiteX3" fmla="*/ 83063 w 2624598"/>
              <a:gd name="connsiteY3" fmla="*/ 5665739 h 5903642"/>
              <a:gd name="connsiteX4" fmla="*/ 1226670 w 2624598"/>
              <a:gd name="connsiteY4" fmla="*/ 2458787 h 5903642"/>
              <a:gd name="connsiteX0" fmla="*/ 1143614 w 2541542"/>
              <a:gd name="connsiteY0" fmla="*/ 2458787 h 5903642"/>
              <a:gd name="connsiteX1" fmla="*/ 2538258 w 2541542"/>
              <a:gd name="connsiteY1" fmla="*/ 0 h 5903642"/>
              <a:gd name="connsiteX2" fmla="*/ 2541542 w 2541542"/>
              <a:gd name="connsiteY2" fmla="*/ 5667094 h 5903642"/>
              <a:gd name="connsiteX3" fmla="*/ 7 w 2541542"/>
              <a:gd name="connsiteY3" fmla="*/ 5665739 h 5903642"/>
              <a:gd name="connsiteX4" fmla="*/ 1143614 w 2541542"/>
              <a:gd name="connsiteY4" fmla="*/ 2458787 h 5903642"/>
              <a:gd name="connsiteX0" fmla="*/ 1143614 w 2541542"/>
              <a:gd name="connsiteY0" fmla="*/ 2458787 h 5667094"/>
              <a:gd name="connsiteX1" fmla="*/ 2538258 w 2541542"/>
              <a:gd name="connsiteY1" fmla="*/ 0 h 5667094"/>
              <a:gd name="connsiteX2" fmla="*/ 2541542 w 2541542"/>
              <a:gd name="connsiteY2" fmla="*/ 5667094 h 5667094"/>
              <a:gd name="connsiteX3" fmla="*/ 7 w 2541542"/>
              <a:gd name="connsiteY3" fmla="*/ 5665739 h 5667094"/>
              <a:gd name="connsiteX4" fmla="*/ 1143614 w 2541542"/>
              <a:gd name="connsiteY4" fmla="*/ 2458787 h 5667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1542" h="5667094">
                <a:moveTo>
                  <a:pt x="1143614" y="2458787"/>
                </a:moveTo>
                <a:cubicBezTo>
                  <a:pt x="2300814" y="846282"/>
                  <a:pt x="2288008" y="529917"/>
                  <a:pt x="2538258" y="0"/>
                </a:cubicBezTo>
                <a:cubicBezTo>
                  <a:pt x="2543851" y="1851176"/>
                  <a:pt x="2535949" y="3815918"/>
                  <a:pt x="2541542" y="5667094"/>
                </a:cubicBezTo>
                <a:lnTo>
                  <a:pt x="7" y="5665739"/>
                </a:lnTo>
                <a:cubicBezTo>
                  <a:pt x="15" y="5021118"/>
                  <a:pt x="-13586" y="4071292"/>
                  <a:pt x="1143614" y="2458787"/>
                </a:cubicBezTo>
                <a:close/>
              </a:path>
            </a:pathLst>
          </a:custGeom>
          <a:solidFill>
            <a:schemeClr val="bg1"/>
          </a:solidFill>
        </p:spPr>
        <p:txBody>
          <a:bodyPr anchor="ctr" anchorCtr="0">
            <a:normAutofit/>
          </a:bodyPr>
          <a:lstStyle>
            <a:lvl1pPr marL="0" indent="0" algn="r">
              <a:buNone/>
              <a:defRPr sz="140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Picture</a:t>
            </a:r>
          </a:p>
        </p:txBody>
      </p:sp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7364458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0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403484"/>
            <a:ext cx="9074150" cy="369332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1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56692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PRESENTATION TITLE</a:t>
            </a:r>
            <a:endParaRPr lang="en-US"/>
          </a:p>
        </p:txBody>
      </p:sp>
      <p:sp>
        <p:nvSpPr>
          <p:cNvPr id="22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5" y="1989138"/>
            <a:ext cx="7188971" cy="44640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85750" indent="-28575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  <a:defRPr sz="1600" b="0" cap="all" baseline="0">
                <a:solidFill>
                  <a:schemeClr val="bg1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CONTENT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5925" y="116632"/>
            <a:ext cx="1908783" cy="445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70588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1776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464050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37675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1652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2213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656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2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2"/>
          <p:cNvSpPr>
            <a:spLocks noGrp="1"/>
          </p:cNvSpPr>
          <p:nvPr>
            <p:ph sz="quarter" idx="22" hasCustomPrompt="1"/>
          </p:nvPr>
        </p:nvSpPr>
        <p:spPr>
          <a:xfrm>
            <a:off x="5061012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857"/>
            <a:ext cx="4428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3703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541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15926" y="2553399"/>
            <a:ext cx="9074150" cy="864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Text.</a:t>
            </a:r>
          </a:p>
        </p:txBody>
      </p:sp>
      <p:cxnSp>
        <p:nvCxnSpPr>
          <p:cNvPr id="14" name="Gerader Verbinder 2"/>
          <p:cNvCxnSpPr/>
          <p:nvPr userDrawn="1"/>
        </p:nvCxnSpPr>
        <p:spPr>
          <a:xfrm>
            <a:off x="1965332" y="3441249"/>
            <a:ext cx="5976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6" y="3441249"/>
            <a:ext cx="9074150" cy="8640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ctr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  <a:defRPr sz="1800" b="0" cap="none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noProof="0"/>
              <a:t>Additional text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96011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3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ontent Placeholder 12"/>
          <p:cNvSpPr>
            <a:spLocks noGrp="1"/>
          </p:cNvSpPr>
          <p:nvPr>
            <p:ph sz="quarter" idx="24" hasCustomPrompt="1"/>
          </p:nvPr>
        </p:nvSpPr>
        <p:spPr>
          <a:xfrm>
            <a:off x="424297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  <p:sp>
        <p:nvSpPr>
          <p:cNvPr id="18" name="Content Placeholder 12"/>
          <p:cNvSpPr>
            <a:spLocks noGrp="1"/>
          </p:cNvSpPr>
          <p:nvPr>
            <p:ph sz="quarter" idx="28" hasCustomPrompt="1"/>
          </p:nvPr>
        </p:nvSpPr>
        <p:spPr>
          <a:xfrm>
            <a:off x="6608959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12"/>
          <p:cNvSpPr>
            <a:spLocks noGrp="1"/>
          </p:cNvSpPr>
          <p:nvPr>
            <p:ph sz="quarter" idx="29" hasCustomPrompt="1"/>
          </p:nvPr>
        </p:nvSpPr>
        <p:spPr>
          <a:xfrm>
            <a:off x="3516628" y="1989857"/>
            <a:ext cx="2880000" cy="4463331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82600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12"/>
          <p:cNvSpPr>
            <a:spLocks noGrp="1"/>
          </p:cNvSpPr>
          <p:nvPr>
            <p:ph sz="quarter" idx="23" hasCustomPrompt="1"/>
          </p:nvPr>
        </p:nvSpPr>
        <p:spPr>
          <a:xfrm>
            <a:off x="415925" y="1989138"/>
            <a:ext cx="9074150" cy="4031308"/>
          </a:xfrm>
          <a:prstGeom prst="rect">
            <a:avLst/>
          </a:prstGeom>
        </p:spPr>
        <p:txBody>
          <a:bodyPr/>
          <a:lstStyle>
            <a:lvl1pPr marL="177800" indent="-177800">
              <a:buFont typeface="Arial" panose="020B0604020202020204" pitchFamily="34" charset="0"/>
              <a:buChar char="•"/>
              <a:defRPr lang="en-GB" sz="1400" kern="1200" dirty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12"/>
          <p:cNvSpPr>
            <a:spLocks noGrp="1"/>
          </p:cNvSpPr>
          <p:nvPr>
            <p:ph sz="quarter" idx="25" hasCustomPrompt="1"/>
          </p:nvPr>
        </p:nvSpPr>
        <p:spPr>
          <a:xfrm>
            <a:off x="415925" y="6093173"/>
            <a:ext cx="9074150" cy="359444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GB" sz="1000" kern="1200" dirty="0">
                <a:solidFill>
                  <a:schemeClr val="accent3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</a:defRPr>
            </a:lvl1pPr>
            <a:lvl2pPr marL="355600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2pPr>
            <a:lvl3pPr marL="5413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3pPr>
            <a:lvl4pPr marL="719138" indent="-177800">
              <a:buFont typeface="Courier New" panose="02070309020205020404" pitchFamily="49" charset="0"/>
              <a:buChar char="o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4pPr>
            <a:lvl5pPr marL="896938" indent="-177800"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en-US"/>
              <a:t>* Footnote</a:t>
            </a:r>
            <a:endParaRPr lang="en-GB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r>
              <a:rPr lang="en-US"/>
              <a:t>DD/MM/YYYY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15925" y="665251"/>
            <a:ext cx="9074150" cy="288131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None/>
              <a:defRPr sz="1600" b="0" cap="all" baseline="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Chapter TITLE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415925" y="1034574"/>
            <a:ext cx="9061450" cy="73866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 cap="none" baseline="0">
                <a:solidFill>
                  <a:schemeClr val="tx2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  <a:lvl2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7968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ags" Target="../tags/tag15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4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1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38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ags" Target="../tags/tag37.xml"/><Relationship Id="rId17" Type="http://schemas.openxmlformats.org/officeDocument/2006/relationships/oleObject" Target="../embeddings/oleObject35.bin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3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oleObject" Target="../embeddings/oleObject56.bin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60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oleObject" Target="../embeddings/oleObject67.bin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7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oleObject" Target="../embeddings/oleObject78.bin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ags" Target="../tags/tag8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oleObject" Target="../embeddings/oleObject89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ags" Target="../tags/tag96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8.png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4519695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85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651" r:id="rId4"/>
    <p:sldLayoutId id="2147483652" r:id="rId5"/>
    <p:sldLayoutId id="2147483653" r:id="rId6"/>
    <p:sldLayoutId id="2147483662" r:id="rId7"/>
    <p:sldLayoutId id="2147483663" r:id="rId8"/>
    <p:sldLayoutId id="2147483664" r:id="rId9"/>
    <p:sldLayoutId id="2147483658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orient="horz" pos="4110" userDrawn="1">
          <p15:clr>
            <a:srgbClr val="F26B43"/>
          </p15:clr>
        </p15:guide>
        <p15:guide id="5" pos="3120" userDrawn="1">
          <p15:clr>
            <a:srgbClr val="F26B43"/>
          </p15:clr>
        </p15:guide>
        <p15:guide id="6" orient="horz" pos="414" userDrawn="1">
          <p15:clr>
            <a:srgbClr val="F26B43"/>
          </p15:clr>
        </p15:guide>
        <p15:guide id="7" orient="horz" pos="1253" userDrawn="1">
          <p15:clr>
            <a:srgbClr val="F26B43"/>
          </p15:clr>
        </p15:guide>
        <p15:guide id="8" orient="horz" pos="1117" userDrawn="1">
          <p15:clr>
            <a:srgbClr val="F26B43"/>
          </p15:clr>
        </p15:guide>
        <p15:guide id="9" pos="262" userDrawn="1">
          <p15:clr>
            <a:srgbClr val="F26B43"/>
          </p15:clr>
        </p15:guide>
        <p15:guide id="10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970755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  <p:graphicFrame>
        <p:nvGraphicFramePr>
          <p:cNvPr id="12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4519695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12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14" name="Picture 30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8328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orient="horz" pos="2160" userDrawn="1">
          <p15:clr>
            <a:srgbClr val="F26B43"/>
          </p15:clr>
        </p15:guide>
        <p15:guide id="1" pos="5978" userDrawn="1">
          <p15:clr>
            <a:srgbClr val="F26B43"/>
          </p15:clr>
        </p15:guide>
        <p15:guide id="2" orient="horz" pos="4110" userDrawn="1">
          <p15:clr>
            <a:srgbClr val="F26B43"/>
          </p15:clr>
        </p15:guide>
        <p15:guide id="3" pos="3120" userDrawn="1">
          <p15:clr>
            <a:srgbClr val="F26B43"/>
          </p15:clr>
        </p15:guide>
        <p15:guide id="4" orient="horz" pos="414" userDrawn="1">
          <p15:clr>
            <a:srgbClr val="F26B43"/>
          </p15:clr>
        </p15:guide>
        <p15:guide id="5" orient="horz" pos="1253" userDrawn="1">
          <p15:clr>
            <a:srgbClr val="F26B43"/>
          </p15:clr>
        </p15:guide>
        <p15:guide id="6" orient="horz" pos="1117" userDrawn="1">
          <p15:clr>
            <a:srgbClr val="F26B43"/>
          </p15:clr>
        </p15:guide>
        <p15:guide id="7" pos="262" userDrawn="1">
          <p15:clr>
            <a:srgbClr val="F26B43"/>
          </p15:clr>
        </p15:guide>
        <p15:guide id="8" orient="horz" pos="40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>
                <a:solidFill>
                  <a:srgbClr val="A3ABB1"/>
                </a:solidFill>
              </a:rPr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>
                <a:solidFill>
                  <a:srgbClr val="A3ABB1"/>
                </a:solidFill>
              </a:rPr>
              <a:t>Presentation Title – Presenter Name</a:t>
            </a:r>
            <a:endParaRPr lang="en-US">
              <a:solidFill>
                <a:srgbClr val="A3ABB1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1000" cap="all">
                <a:solidFill>
                  <a:srgbClr val="A3AB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/>
            <a:r>
              <a:rPr lang="en-US" sz="1000" cap="all">
                <a:solidFill>
                  <a:srgbClr val="A3AB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>
                <a:solidFill>
                  <a:srgbClr val="A3ABB1"/>
                </a:solidFill>
              </a:rPr>
              <a:pPr/>
              <a:t>‹#›</a:t>
            </a:fld>
            <a:endParaRPr lang="en-GB">
              <a:solidFill>
                <a:srgbClr val="A3ABB1"/>
              </a:solidFill>
            </a:endParaRPr>
          </a:p>
        </p:txBody>
      </p:sp>
      <p:graphicFrame>
        <p:nvGraphicFramePr>
          <p:cNvPr id="12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TCLayout.ActiveDocument.1">
                  <p:embed/>
                </p:oleObj>
              </mc:Choice>
              <mc:Fallback>
                <p:oleObj name="think-cell Slide" r:id="rId17" imgW="360" imgH="360" progId="TCLayout.ActiveDocument.1">
                  <p:embed/>
                  <p:pic>
                    <p:nvPicPr>
                      <p:cNvPr id="12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/>
            <a:r>
              <a:rPr lang="en-US" sz="1000" cap="all">
                <a:solidFill>
                  <a:srgbClr val="A3AB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/>
            <a:r>
              <a:rPr lang="en-US" sz="1000" cap="all">
                <a:solidFill>
                  <a:srgbClr val="A3AB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14" name="Picture 30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5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306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978">
          <p15:clr>
            <a:srgbClr val="F26B43"/>
          </p15:clr>
        </p15:guide>
        <p15:guide id="3" orient="horz" pos="4110">
          <p15:clr>
            <a:srgbClr val="F26B43"/>
          </p15:clr>
        </p15:guide>
        <p15:guide id="4" pos="3120">
          <p15:clr>
            <a:srgbClr val="F26B43"/>
          </p15:clr>
        </p15:guide>
        <p15:guide id="5" orient="horz" pos="414">
          <p15:clr>
            <a:srgbClr val="F26B43"/>
          </p15:clr>
        </p15:guide>
        <p15:guide id="6" orient="horz" pos="1253">
          <p15:clr>
            <a:srgbClr val="F26B43"/>
          </p15:clr>
        </p15:guide>
        <p15:guide id="7" orient="horz" pos="1117">
          <p15:clr>
            <a:srgbClr val="F26B43"/>
          </p15:clr>
        </p15:guide>
        <p15:guide id="8" pos="262">
          <p15:clr>
            <a:srgbClr val="F26B43"/>
          </p15:clr>
        </p15:guide>
        <p15:guide id="9" orient="horz" pos="406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008560885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697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5978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3120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1117">
          <p15:clr>
            <a:srgbClr val="F26B43"/>
          </p15:clr>
        </p15:guide>
        <p15:guide id="9" pos="262">
          <p15:clr>
            <a:srgbClr val="F26B43"/>
          </p15:clr>
        </p15:guide>
        <p15:guide id="10" orient="horz" pos="4065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22934034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2887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5978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3120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1117">
          <p15:clr>
            <a:srgbClr val="F26B43"/>
          </p15:clr>
        </p15:guide>
        <p15:guide id="9" pos="262">
          <p15:clr>
            <a:srgbClr val="F26B43"/>
          </p15:clr>
        </p15:guide>
        <p15:guide id="10" orient="horz" pos="406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208090847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932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5978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3120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1117">
          <p15:clr>
            <a:srgbClr val="F26B43"/>
          </p15:clr>
        </p15:guide>
        <p15:guide id="9" pos="262">
          <p15:clr>
            <a:srgbClr val="F26B43"/>
          </p15:clr>
        </p15:guide>
        <p15:guide id="10" orient="horz" pos="406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83700321"/>
              </p:ext>
            </p:extLst>
          </p:nvPr>
        </p:nvGraphicFramePr>
        <p:xfrm>
          <a:off x="1735" y="1617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735" y="1617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2"/>
          <p:cNvSpPr>
            <a:spLocks noGrp="1"/>
          </p:cNvSpPr>
          <p:nvPr>
            <p:ph type="dt" sz="half" idx="2"/>
          </p:nvPr>
        </p:nvSpPr>
        <p:spPr>
          <a:xfrm>
            <a:off x="7839334" y="6525344"/>
            <a:ext cx="1638041" cy="324036"/>
          </a:xfrm>
          <a:prstGeom prst="rect">
            <a:avLst/>
          </a:prstGeom>
        </p:spPr>
        <p:txBody>
          <a:bodyPr lIns="0" rIns="0" anchor="ctr" anchorCtr="0"/>
          <a:lstStyle>
            <a:lvl1pPr algn="r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DD/MM/YYYY</a:t>
            </a:r>
          </a:p>
        </p:txBody>
      </p:sp>
      <p:sp>
        <p:nvSpPr>
          <p:cNvPr id="4" name="Fußzeilenplatzhalter 23"/>
          <p:cNvSpPr>
            <a:spLocks noGrp="1"/>
          </p:cNvSpPr>
          <p:nvPr>
            <p:ph type="ftr" sz="quarter" idx="3"/>
          </p:nvPr>
        </p:nvSpPr>
        <p:spPr>
          <a:xfrm>
            <a:off x="884238" y="6525344"/>
            <a:ext cx="6955096" cy="324036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  <a:cs typeface="Arial" panose="020B0604020202020204" pitchFamily="34" charset="0"/>
              </a:defRPr>
            </a:lvl1pPr>
          </a:lstStyle>
          <a:p>
            <a:r>
              <a:rPr lang="en-GB"/>
              <a:t>Presentation Title – Presenter Name</a:t>
            </a:r>
            <a:endParaRPr lang="en-US"/>
          </a:p>
        </p:txBody>
      </p:sp>
      <p:sp>
        <p:nvSpPr>
          <p:cNvPr id="2" name="Rechteck 1"/>
          <p:cNvSpPr/>
          <p:nvPr userDrawn="1"/>
        </p:nvSpPr>
        <p:spPr>
          <a:xfrm>
            <a:off x="4640965" y="160233"/>
            <a:ext cx="4849110" cy="40011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Europe's number one</a:t>
            </a:r>
          </a:p>
          <a:p>
            <a:pPr algn="r" fontAlgn="auto">
              <a:spcAft>
                <a:spcPts val="0"/>
              </a:spcAft>
            </a:pPr>
            <a:r>
              <a:rPr lang="en-US" sz="1000" cap="all" baseline="0" noProof="0">
                <a:solidFill>
                  <a:schemeClr val="accent3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edical diagnostics provider</a:t>
            </a:r>
          </a:p>
        </p:txBody>
      </p:sp>
      <p:pic>
        <p:nvPicPr>
          <p:cNvPr id="9" name="Picture 3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04" y="116632"/>
            <a:ext cx="1894468" cy="443711"/>
          </a:xfrm>
          <a:prstGeom prst="rect">
            <a:avLst/>
          </a:prstGeom>
        </p:spPr>
      </p:pic>
      <p:cxnSp>
        <p:nvCxnSpPr>
          <p:cNvPr id="10" name="Gerade Verbindung 20"/>
          <p:cNvCxnSpPr/>
          <p:nvPr userDrawn="1"/>
        </p:nvCxnSpPr>
        <p:spPr>
          <a:xfrm flipH="1">
            <a:off x="0" y="6525344"/>
            <a:ext cx="9906000" cy="0"/>
          </a:xfrm>
          <a:prstGeom prst="line">
            <a:avLst/>
          </a:prstGeom>
          <a:ln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1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415925" y="6520108"/>
            <a:ext cx="468313" cy="32927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>
                <a:solidFill>
                  <a:schemeClr val="accent3"/>
                </a:solidFill>
                <a:latin typeface="Arial Narrow" panose="020B0606020202030204" pitchFamily="34" charset="0"/>
              </a:defRPr>
            </a:lvl1pPr>
          </a:lstStyle>
          <a:p>
            <a:fld id="{71603DBA-68A2-44D7-9CF5-5D2921E01548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737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</p:sldLayoutIdLst>
  <p:hf hdr="0"/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79" indent="-342879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05" indent="-28573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31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05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277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●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45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0" indent="-228586" algn="l" defTabSz="91434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7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9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pos="5978">
          <p15:clr>
            <a:srgbClr val="F26B43"/>
          </p15:clr>
        </p15:guide>
        <p15:guide id="4" orient="horz" pos="4110">
          <p15:clr>
            <a:srgbClr val="F26B43"/>
          </p15:clr>
        </p15:guide>
        <p15:guide id="5" pos="3120">
          <p15:clr>
            <a:srgbClr val="F26B43"/>
          </p15:clr>
        </p15:guide>
        <p15:guide id="6" orient="horz" pos="414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1117">
          <p15:clr>
            <a:srgbClr val="F26B43"/>
          </p15:clr>
        </p15:guide>
        <p15:guide id="9" pos="262">
          <p15:clr>
            <a:srgbClr val="F26B43"/>
          </p15:clr>
        </p15:guide>
        <p15:guide id="10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2C3CA25-EF5E-4908-919F-37382295492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3225" y="704869"/>
            <a:ext cx="9074150" cy="343096"/>
          </a:xfrm>
        </p:spPr>
        <p:txBody>
          <a:bodyPr wrap="square" lIns="91440" tIns="45720" rIns="91440" bIns="45720" anchor="t">
            <a:noAutofit/>
          </a:bodyPr>
          <a:lstStyle/>
          <a:p>
            <a:r>
              <a:rPr lang="fi-FI" dirty="0">
                <a:latin typeface="Arial Narrow"/>
                <a:cs typeface="Arial"/>
              </a:rPr>
              <a:t>CHLAMYDIA TRACHOMATIS AND NEISSERIA GONORRHOEAE, PATIENT INSTRUCTION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8D17D62E-1B1D-45CE-9DC6-1B4DE1E5351A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22F9F1C7-9E1D-854F-8FC0-5E41580ECE9A}" type="datetime1">
              <a:rPr lang="fi-FI" smtClean="0"/>
              <a:pPr/>
              <a:t>18.7.2024</a:t>
            </a:fld>
            <a:endParaRPr lang="en-US"/>
          </a:p>
        </p:txBody>
      </p:sp>
      <p:sp>
        <p:nvSpPr>
          <p:cNvPr id="6" name="Alatunnisteen paikkamerkki 5">
            <a:extLst>
              <a:ext uri="{FF2B5EF4-FFF2-40B4-BE49-F238E27FC236}">
                <a16:creationId xmlns:a16="http://schemas.microsoft.com/office/drawing/2014/main" id="{6619F257-661E-42F3-9E36-8E6E3B6DC64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884238" y="6469792"/>
            <a:ext cx="6955096" cy="324036"/>
          </a:xfrm>
        </p:spPr>
        <p:txBody>
          <a:bodyPr lIns="0" tIns="45720" rIns="0" bIns="45720" anchor="ctr" anchorCtr="0"/>
          <a:lstStyle/>
          <a:p>
            <a:endParaRPr lang="en-GB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A889B881-6848-45D1-91CC-429C6F373540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Kuva 8">
            <a:extLst>
              <a:ext uri="{FF2B5EF4-FFF2-40B4-BE49-F238E27FC236}">
                <a16:creationId xmlns:a16="http://schemas.microsoft.com/office/drawing/2014/main" id="{C4FB7A9F-B5A1-424C-A870-ECD3795012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792" y="956356"/>
            <a:ext cx="9554585" cy="2657292"/>
          </a:xfrm>
          <a:prstGeom prst="rect">
            <a:avLst/>
          </a:prstGeom>
        </p:spPr>
      </p:pic>
      <p:sp>
        <p:nvSpPr>
          <p:cNvPr id="10" name="Tekstin paikkamerkki 1">
            <a:extLst>
              <a:ext uri="{FF2B5EF4-FFF2-40B4-BE49-F238E27FC236}">
                <a16:creationId xmlns:a16="http://schemas.microsoft.com/office/drawing/2014/main" id="{BAA8C629-632D-428A-8410-587D113620BA}"/>
              </a:ext>
            </a:extLst>
          </p:cNvPr>
          <p:cNvSpPr txBox="1">
            <a:spLocks/>
          </p:cNvSpPr>
          <p:nvPr/>
        </p:nvSpPr>
        <p:spPr>
          <a:xfrm>
            <a:off x="6620757" y="3522038"/>
            <a:ext cx="3151196" cy="2892201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>
            <a:lvl1pPr marL="355600" indent="-355600" algn="l" defTabSz="914345" rtl="0" eaLnBrk="1" latinLnBrk="0" hangingPunct="1">
              <a:spcBef>
                <a:spcPts val="1999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600" b="1" kern="1200" baseline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1pPr>
            <a:lvl2pPr marL="719877" indent="-359938" algn="l" defTabSz="91434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b="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1259783" indent="-539907" algn="l" defTabSz="914345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1255497" indent="-53489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>
                <a:tab pos="8520223" algn="r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277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5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2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9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</a:pP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Open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a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d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plac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tic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agains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edg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of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ub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o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a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blac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mar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s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righ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abov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edg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d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otton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head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doesn’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ouch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bottom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na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tic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righ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under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blac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mar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by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pressing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t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agains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edg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Half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of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ampl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wab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tay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n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ub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d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other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half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an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b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disposed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los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a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ightly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</a:t>
            </a:r>
          </a:p>
        </p:txBody>
      </p:sp>
      <p:sp>
        <p:nvSpPr>
          <p:cNvPr id="11" name="Tekstin paikkamerkki 1">
            <a:extLst>
              <a:ext uri="{FF2B5EF4-FFF2-40B4-BE49-F238E27FC236}">
                <a16:creationId xmlns:a16="http://schemas.microsoft.com/office/drawing/2014/main" id="{85C6ADF3-B01C-4DCC-BAF5-C4E899DDD5D3}"/>
              </a:ext>
            </a:extLst>
          </p:cNvPr>
          <p:cNvSpPr txBox="1">
            <a:spLocks/>
          </p:cNvSpPr>
          <p:nvPr/>
        </p:nvSpPr>
        <p:spPr>
          <a:xfrm>
            <a:off x="415925" y="3522039"/>
            <a:ext cx="2830709" cy="2705118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>
            <a:lvl1pPr marL="355600" indent="-355600" algn="l" defTabSz="914345" rtl="0" eaLnBrk="1" latinLnBrk="0" hangingPunct="1">
              <a:spcBef>
                <a:spcPts val="1999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600" b="1" kern="1200" baseline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1pPr>
            <a:lvl2pPr marL="719877" indent="-359938" algn="l" defTabSz="91434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b="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1259783" indent="-539907" algn="l" defTabSz="914345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1255497" indent="-53489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>
                <a:tab pos="8520223" algn="r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277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5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2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9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</a:pP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Remov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ampl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wab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from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packag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d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mak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sure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otton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head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remain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untouched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d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clean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</a:t>
            </a:r>
          </a:p>
        </p:txBody>
      </p:sp>
      <p:sp>
        <p:nvSpPr>
          <p:cNvPr id="12" name="Tekstin paikkamerkki 1">
            <a:extLst>
              <a:ext uri="{FF2B5EF4-FFF2-40B4-BE49-F238E27FC236}">
                <a16:creationId xmlns:a16="http://schemas.microsoft.com/office/drawing/2014/main" id="{644B9EC4-5BE4-481D-BEE9-A6A2970DD8E1}"/>
              </a:ext>
            </a:extLst>
          </p:cNvPr>
          <p:cNvSpPr txBox="1">
            <a:spLocks/>
          </p:cNvSpPr>
          <p:nvPr/>
        </p:nvSpPr>
        <p:spPr>
          <a:xfrm>
            <a:off x="3502372" y="3522039"/>
            <a:ext cx="2830709" cy="2705118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>
            <a:lvl1pPr marL="355600" indent="-355600" algn="l" defTabSz="914345" rtl="0" eaLnBrk="1" latinLnBrk="0" hangingPunct="1">
              <a:spcBef>
                <a:spcPts val="1999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600" b="1" kern="1200" baseline="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1pPr>
            <a:lvl2pPr marL="719877" indent="-359938" algn="l" defTabSz="914345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b="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2pPr>
            <a:lvl3pPr marL="1259783" indent="-539907" algn="l" defTabSz="914345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tabLst>
                <a:tab pos="9485726" algn="r"/>
              </a:tabLst>
              <a:defRPr sz="1400" kern="1200">
                <a:solidFill>
                  <a:schemeClr val="tx2"/>
                </a:solidFill>
                <a:latin typeface="Arial Narrow" panose="020B0606020202030204" pitchFamily="34" charset="0"/>
                <a:ea typeface="+mn-ea"/>
                <a:cs typeface="Arial" panose="020B0604020202020204" pitchFamily="34" charset="0"/>
                <a:sym typeface="+mn-lt"/>
              </a:defRPr>
            </a:lvl3pPr>
            <a:lvl4pPr marL="1255497" indent="-53489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tabLst>
                <a:tab pos="8520223" algn="r"/>
              </a:tabLst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277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45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2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94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70" indent="-228586" algn="l" defTabSz="91434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</a:pP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Inser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wab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n to vagina (5cm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dee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)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or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us (2cm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dee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). Roll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tick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against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mucou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membrane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n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vagina for 30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econd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or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n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anus for 5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econd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Keep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swab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in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your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hand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rough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the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 </a:t>
            </a:r>
            <a:r>
              <a:rPr lang="fi-FI" sz="1400" b="0" dirty="0" err="1">
                <a:solidFill>
                  <a:srgbClr val="242424"/>
                </a:solidFill>
                <a:latin typeface="+mn-lt"/>
                <a:cs typeface="Arial"/>
              </a:rPr>
              <a:t>process</a:t>
            </a:r>
            <a:r>
              <a:rPr lang="fi-FI" sz="1400" b="0" dirty="0">
                <a:solidFill>
                  <a:srgbClr val="242424"/>
                </a:solidFill>
                <a:latin typeface="+mn-lt"/>
                <a:cs typeface="Arial"/>
              </a:rPr>
              <a:t>.</a:t>
            </a:r>
            <a:endParaRPr lang="fi-FI" sz="1400" b="0" dirty="0">
              <a:solidFill>
                <a:srgbClr val="24242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65830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74Lt1pfEeuusKCiCw0P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YNLAB">
  <a:themeElements>
    <a:clrScheme name="Benutzerdefiniert 1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68971C"/>
      </a:accent1>
      <a:accent2>
        <a:srgbClr val="BFD886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range">
  <a:themeElements>
    <a:clrScheme name="SYNLAB Colours Orange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EE7400"/>
      </a:accent1>
      <a:accent2>
        <a:srgbClr val="F9B232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Orange" id="{64AA23CB-9F0C-4552-8676-F7565301A372}" vid="{A0E4AE37-BD47-403E-9E2F-31FF22D99A7A}"/>
    </a:ext>
  </a:extLst>
</a:theme>
</file>

<file path=ppt/theme/theme3.xml><?xml version="1.0" encoding="utf-8"?>
<a:theme xmlns:a="http://schemas.openxmlformats.org/drawingml/2006/main" name="1_Orange">
  <a:themeElements>
    <a:clrScheme name="SYNLAB Colours Orange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EE7400"/>
      </a:accent1>
      <a:accent2>
        <a:srgbClr val="F9B232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</a:objectDefaults>
  <a:extraClrSchemeLst/>
  <a:extLst>
    <a:ext uri="{05A4C25C-085E-4340-85A3-A5531E510DB2}">
      <thm15:themeFamily xmlns:thm15="http://schemas.microsoft.com/office/thememl/2012/main" name="Orange" id="{64AA23CB-9F0C-4552-8676-F7565301A372}" vid="{A0E4AE37-BD47-403E-9E2F-31FF22D99A7A}"/>
    </a:ext>
  </a:extLst>
</a:theme>
</file>

<file path=ppt/theme/theme4.xml><?xml version="1.0" encoding="utf-8"?>
<a:theme xmlns:a="http://schemas.openxmlformats.org/drawingml/2006/main" name="1_SYNLAB">
  <a:themeElements>
    <a:clrScheme name="Benutzerdefiniert 1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68971C"/>
      </a:accent1>
      <a:accent2>
        <a:srgbClr val="BFD886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2_SYNLAB">
  <a:themeElements>
    <a:clrScheme name="Benutzerdefiniert 1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68971C"/>
      </a:accent1>
      <a:accent2>
        <a:srgbClr val="BFD886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3_SYNLAB">
  <a:themeElements>
    <a:clrScheme name="Benutzerdefiniert 1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68971C"/>
      </a:accent1>
      <a:accent2>
        <a:srgbClr val="BFD886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SYNLAB">
  <a:themeElements>
    <a:clrScheme name="Benutzerdefiniert 1">
      <a:dk1>
        <a:srgbClr val="000000"/>
      </a:dk1>
      <a:lt1>
        <a:sysClr val="window" lastClr="FFFFFF"/>
      </a:lt1>
      <a:dk2>
        <a:srgbClr val="003765"/>
      </a:dk2>
      <a:lt2>
        <a:srgbClr val="0077AD"/>
      </a:lt2>
      <a:accent1>
        <a:srgbClr val="68971C"/>
      </a:accent1>
      <a:accent2>
        <a:srgbClr val="BFD886"/>
      </a:accent2>
      <a:accent3>
        <a:srgbClr val="A3ABB1"/>
      </a:accent3>
      <a:accent4>
        <a:srgbClr val="003765"/>
      </a:accent4>
      <a:accent5>
        <a:srgbClr val="0077AD"/>
      </a:accent5>
      <a:accent6>
        <a:srgbClr val="34BFFF"/>
      </a:accent6>
      <a:hlink>
        <a:srgbClr val="0077AD"/>
      </a:hlink>
      <a:folHlink>
        <a:srgbClr val="A3ABB1"/>
      </a:folHlink>
    </a:clrScheme>
    <a:fontScheme name="SYNLAB PowerPoin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bg1"/>
            </a:solidFill>
            <a:latin typeface="Arial Narrow" panose="020B0606020202030204" pitchFamily="34" charset="0"/>
          </a:defRPr>
        </a:defPPr>
      </a:lstStyle>
      <a:style>
        <a:lnRef idx="2">
          <a:schemeClr val="accent4"/>
        </a:lnRef>
        <a:fillRef idx="1">
          <a:schemeClr val="lt1"/>
        </a:fillRef>
        <a:effectRef idx="0">
          <a:schemeClr val="accent4"/>
        </a:effectRef>
        <a:fontRef idx="minor">
          <a:schemeClr val="dk1"/>
        </a:fontRef>
      </a:style>
    </a:spDef>
    <a:txDef>
      <a:spPr>
        <a:noFill/>
      </a:spPr>
      <a:bodyPr wrap="square" lIns="36000" tIns="36000" rIns="36000" bIns="3600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uomi xmlns="63b81da9-9f62-4984-bc4b-5e499b5d54b3" xsi:nil="true"/>
    <_Flow_SignoffStatus xmlns="63b81da9-9f62-4984-bc4b-5e499b5d54b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91722A4265893048B81E853610CED575" ma:contentTypeVersion="10" ma:contentTypeDescription="Luo uusi asiakirja." ma:contentTypeScope="" ma:versionID="5110fe92412d0ad155a56ecc91a90900">
  <xsd:schema xmlns:xsd="http://www.w3.org/2001/XMLSchema" xmlns:xs="http://www.w3.org/2001/XMLSchema" xmlns:p="http://schemas.microsoft.com/office/2006/metadata/properties" xmlns:ns2="63b81da9-9f62-4984-bc4b-5e499b5d54b3" xmlns:ns3="8b2da93f-c717-49c3-939b-42f20f7c3e01" targetNamespace="http://schemas.microsoft.com/office/2006/metadata/properties" ma:root="true" ma:fieldsID="873d368d98aa7c64a227ce1a751aa60e" ns2:_="" ns3:_="">
    <xsd:import namespace="63b81da9-9f62-4984-bc4b-5e499b5d54b3"/>
    <xsd:import namespace="8b2da93f-c717-49c3-939b-42f20f7c3e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Suomi" minOccurs="0"/>
                <xsd:element ref="ns2:MediaServiceSearchProperties" minOccurs="0"/>
                <xsd:element ref="ns3:SharedWithUsers" minOccurs="0"/>
                <xsd:element ref="ns3:SharedWithDetails" minOccurs="0"/>
                <xsd:element ref="ns2:_Flow_SignoffStatu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b81da9-9f62-4984-bc4b-5e499b5d54b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Suomi" ma:index="12" nillable="true" ma:displayName="Suomi" ma:format="Dropdown" ma:internalName="Suomi">
      <xsd:simpleType>
        <xsd:restriction base="dms:Text">
          <xsd:maxLength value="255"/>
        </xsd:restriction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_Flow_SignoffStatus" ma:index="16" nillable="true" ma:displayName="Kuittauksen tila" ma:internalName="Kuittauksen_x0020_tila">
      <xsd:simpleType>
        <xsd:restriction base="dms:Text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2da93f-c717-49c3-939b-42f20f7c3e0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711D4E9-3E04-4CC1-B13A-7C26E0A0F05F}">
  <ds:schemaRefs>
    <ds:schemaRef ds:uri="9694d2ee-b432-4455-aad4-af9a8d53dfb1"/>
    <ds:schemaRef ds:uri="f11c81a3-24c4-4c47-b99c-c0a426dfb318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DBEA34D-681C-4E31-B700-2568FE4E213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8D9FDA7-7E26-4BDA-AE5C-E52E392BE308}"/>
</file>

<file path=docProps/app.xml><?xml version="1.0" encoding="utf-8"?>
<Properties xmlns="http://schemas.openxmlformats.org/officeDocument/2006/extended-properties" xmlns:vt="http://schemas.openxmlformats.org/officeDocument/2006/docPropsVTypes">
  <TotalTime>51</TotalTime>
  <Words>143</Words>
  <Application>Microsoft Office PowerPoint</Application>
  <PresentationFormat>A4-paperi (210 x 297 mm)</PresentationFormat>
  <Paragraphs>5</Paragraphs>
  <Slides>1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7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</vt:i4>
      </vt:variant>
    </vt:vector>
  </HeadingPairs>
  <TitlesOfParts>
    <vt:vector size="13" baseType="lpstr">
      <vt:lpstr>Arial</vt:lpstr>
      <vt:lpstr>Arial Narrow</vt:lpstr>
      <vt:lpstr>Calibri</vt:lpstr>
      <vt:lpstr>Courier New</vt:lpstr>
      <vt:lpstr>SYNLAB</vt:lpstr>
      <vt:lpstr>Orange</vt:lpstr>
      <vt:lpstr>1_Orange</vt:lpstr>
      <vt:lpstr>1_SYNLAB</vt:lpstr>
      <vt:lpstr>2_SYNLAB</vt:lpstr>
      <vt:lpstr>3_SYNLAB</vt:lpstr>
      <vt:lpstr>4_SYNLAB</vt:lpstr>
      <vt:lpstr>think-cell Slide</vt:lpstr>
      <vt:lpstr>PowerPoint-esity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Ville Remes</dc:creator>
  <cp:lastModifiedBy>Jutta Viitala</cp:lastModifiedBy>
  <cp:revision>9</cp:revision>
  <cp:lastPrinted>1601-01-01T00:00:00Z</cp:lastPrinted>
  <dcterms:created xsi:type="dcterms:W3CDTF">2021-01-15T09:00:18Z</dcterms:created>
  <dcterms:modified xsi:type="dcterms:W3CDTF">2024-07-18T04:5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722A4265893048B81E853610CED575</vt:lpwstr>
  </property>
  <property fmtid="{D5CDD505-2E9C-101B-9397-08002B2CF9AE}" pid="3" name="MediaServiceImageTags">
    <vt:lpwstr/>
  </property>
</Properties>
</file>